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E906"/>
    <a:srgbClr val="FFB7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>
        <p:scale>
          <a:sx n="60" d="100"/>
          <a:sy n="60" d="100"/>
        </p:scale>
        <p:origin x="725" y="44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F5F46-F56A-2C1E-79DB-23FF111F6E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A71C8E-E23F-8B55-47DF-F012BD5CBF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C21885-3137-2376-A220-C4F8DB0D3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C2B2D-BA87-FC0E-FC34-BF85B6D02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170A65-4669-238A-BD95-9B03526EB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123542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BF090-4169-331D-321D-11C055C34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2C92A9-080E-90BC-8E20-A872F96B9C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D225A8-73E7-85DA-02BC-3E5D92A4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C857F6-7B8A-2426-6056-5B92ED932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C049FD-042C-A305-B403-7F26BE2D0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000022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E7C1D8-F70E-3896-4E0C-5AF2AE1AD5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44C994-DAD3-5739-18FF-25F9D75A79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1C9C60-9277-5F3D-C22D-E5A40BCE3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40DEC8-0E3B-8676-75D8-F01488BA2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5AD787-FE0A-A76A-F84B-71B934818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64712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9320A-E0CD-5E44-EF95-B695E6BFE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023EC1-80DC-0416-D064-2087EF65E3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C7EEAD-9588-24D4-5027-56480E779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D3E2E-2DE2-78F1-395B-10784E626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01A6DB-2099-4EA9-6A23-F6EFD28DB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11833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BD78E-DDF2-B8FD-33A5-0584FF473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BE991-CE61-EBDA-30E3-07FF0CC75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BC05DE-0F3A-C9CD-5999-C6F345ABD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084BE6-954A-E9B0-1302-A7F339897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3950BB-8878-21EF-7FDF-A4380B6E6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589931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766FF-6344-EA82-D3FB-7779B0A408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BF07BA-7B10-1430-0D1F-E5F3285DC7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39A54F-138F-FFA5-4ED3-47269F1782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8CE456-9D0D-9176-3453-5AAE0570B3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183B2F-65EA-4A7C-D0C7-1073B910E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BBFB63-0D57-A8F2-4C29-F2A1E84B7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838692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703CB-F3CC-E314-19B7-2A78032FA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C89F33-DDFC-8607-802E-59F6DC9EA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7C568B-F61E-75C1-E7F3-11C659B958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907C37-67AC-6A2E-1A60-D855C1602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308770-4523-6E2F-4686-F2049C7608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DFB71BA-A8CA-756C-04E5-457BBA309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F708AD-E92C-683D-9239-BD3638FC8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34B2D6-A591-6FD3-E103-B300FCCBA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288357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23F18-FA9C-D40A-AF55-92439A57F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AACCC9-9759-861F-EF9F-61F2CC211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BC0B82-B69E-E801-0A0B-C1C01CD70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372EC-B0BC-4024-4310-CDC9228A8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135017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BDD6D8-21BF-FB96-2E27-6436AA435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810BC4-EF57-1445-3E45-DB04426A2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D5AF42-B427-281F-8A02-B48218759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57780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97AAF1-4173-393D-4897-B7BD43822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8F4795-69C2-7521-AD02-22E48CE1CF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61585A-4923-9CAA-7AA8-19121C6FAC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0275D7-4C38-14A9-F458-2E1AC67C0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110474-2CBA-1F18-2DD9-B3229824D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FAE2CA-229D-E323-8867-001E8C15B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09653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ADF44-2C09-3D2E-33E8-75D8121818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295940-6DDF-14F9-EE78-D7142EF31D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96D085-2450-6707-BD8B-81440B9E35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241F0-043C-9BFC-A0F6-D81E55789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CBE4C2-FB37-98E1-14AC-EEAF240CF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F39B-0971-9342-E832-A8225EEB1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708619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C0A5E9-7E32-F110-EB83-3F70C22E8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9C61F2-8A90-6301-10FC-DD0FCA29F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1B5C2D-C509-4F8C-B1E6-AD7F83F7C4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BD423A6-BBA1-48CC-A373-C70E03577A4B}" type="datetimeFigureOut">
              <a:rPr lang="en-MY" smtClean="0"/>
              <a:t>19/10/2024</a:t>
            </a:fld>
            <a:endParaRPr lang="en-MY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2DBE2-4AFE-261F-2964-F14DA548F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D54216-8917-F853-9FF4-9980685E6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D7019FF-939A-43DD-B62E-40BEAD7757B5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206107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B7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ack and white gradient&#10;&#10;Description automatically generated">
            <a:extLst>
              <a:ext uri="{FF2B5EF4-FFF2-40B4-BE49-F238E27FC236}">
                <a16:creationId xmlns:a16="http://schemas.microsoft.com/office/drawing/2014/main" id="{4CEAFCB4-DF36-FEC9-EB99-2C0BA5F3BC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2528455" y="-5195455"/>
            <a:ext cx="17248910" cy="17248910"/>
          </a:xfrm>
          <a:custGeom>
            <a:avLst/>
            <a:gdLst>
              <a:gd name="connsiteX0" fmla="*/ 8624455 w 17248910"/>
              <a:gd name="connsiteY0" fmla="*/ 0 h 17248910"/>
              <a:gd name="connsiteX1" fmla="*/ 17248910 w 17248910"/>
              <a:gd name="connsiteY1" fmla="*/ 8624455 h 17248910"/>
              <a:gd name="connsiteX2" fmla="*/ 8624455 w 17248910"/>
              <a:gd name="connsiteY2" fmla="*/ 17248910 h 17248910"/>
              <a:gd name="connsiteX3" fmla="*/ 0 w 17248910"/>
              <a:gd name="connsiteY3" fmla="*/ 8624455 h 17248910"/>
              <a:gd name="connsiteX4" fmla="*/ 8624455 w 17248910"/>
              <a:gd name="connsiteY4" fmla="*/ 0 h 17248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48910" h="17248910">
                <a:moveTo>
                  <a:pt x="8624455" y="0"/>
                </a:moveTo>
                <a:cubicBezTo>
                  <a:pt x="13387610" y="0"/>
                  <a:pt x="17248910" y="3861300"/>
                  <a:pt x="17248910" y="8624455"/>
                </a:cubicBezTo>
                <a:cubicBezTo>
                  <a:pt x="17248910" y="13387610"/>
                  <a:pt x="13387610" y="17248910"/>
                  <a:pt x="8624455" y="17248910"/>
                </a:cubicBezTo>
                <a:cubicBezTo>
                  <a:pt x="3861300" y="17248910"/>
                  <a:pt x="0" y="13387610"/>
                  <a:pt x="0" y="8624455"/>
                </a:cubicBezTo>
                <a:cubicBezTo>
                  <a:pt x="0" y="3861300"/>
                  <a:pt x="3861300" y="0"/>
                  <a:pt x="8624455" y="0"/>
                </a:cubicBezTo>
                <a:close/>
              </a:path>
            </a:pathLst>
          </a:cu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0A307A2-3795-1D7E-E1E6-10B8134F31D8}"/>
              </a:ext>
            </a:extLst>
          </p:cNvPr>
          <p:cNvSpPr txBox="1"/>
          <p:nvPr/>
        </p:nvSpPr>
        <p:spPr>
          <a:xfrm>
            <a:off x="483326" y="378823"/>
            <a:ext cx="510757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6000" dirty="0">
                <a:solidFill>
                  <a:schemeClr val="tx2"/>
                </a:solidFill>
                <a:latin typeface="Hanson" pitchFamily="50" charset="0"/>
              </a:rPr>
              <a:t>Conic Gradient Effect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927B7AB5-44FE-E9C9-A428-AEA32B3018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6174" y="1047750"/>
            <a:ext cx="4762500" cy="47625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05472CC-3CE5-280A-EAA7-5BEC445F1E11}"/>
              </a:ext>
            </a:extLst>
          </p:cNvPr>
          <p:cNvSpPr txBox="1"/>
          <p:nvPr/>
        </p:nvSpPr>
        <p:spPr>
          <a:xfrm>
            <a:off x="692331" y="3853543"/>
            <a:ext cx="4558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dirty="0">
                <a:latin typeface="Figtree SemiBold" pitchFamily="2" charset="0"/>
              </a:rPr>
              <a:t>Conic Gradient is a gradient with colour transitions rotated around a </a:t>
            </a:r>
            <a:r>
              <a:rPr lang="en-MY" dirty="0" err="1">
                <a:latin typeface="Figtree SemiBold" pitchFamily="2" charset="0"/>
              </a:rPr>
              <a:t>center</a:t>
            </a:r>
            <a:r>
              <a:rPr lang="en-MY" dirty="0">
                <a:latin typeface="Figtree SemiBold" pitchFamily="2" charset="0"/>
              </a:rPr>
              <a:t> point.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05CF6B3-07EA-7441-53DC-A48F45A10F20}"/>
              </a:ext>
            </a:extLst>
          </p:cNvPr>
          <p:cNvSpPr/>
          <p:nvPr/>
        </p:nvSpPr>
        <p:spPr>
          <a:xfrm>
            <a:off x="1267097" y="4950823"/>
            <a:ext cx="3239589" cy="1018903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dirty="0">
                <a:solidFill>
                  <a:srgbClr val="002060"/>
                </a:solidFill>
                <a:latin typeface="Hanson" pitchFamily="50" charset="0"/>
              </a:rPr>
              <a:t>START</a:t>
            </a:r>
          </a:p>
        </p:txBody>
      </p:sp>
    </p:spTree>
    <p:extLst>
      <p:ext uri="{BB962C8B-B14F-4D97-AF65-F5344CB8AC3E}">
        <p14:creationId xmlns:p14="http://schemas.microsoft.com/office/powerpoint/2010/main" val="4069642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BE9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ack and white gradient&#10;&#10;Description automatically generated">
            <a:extLst>
              <a:ext uri="{FF2B5EF4-FFF2-40B4-BE49-F238E27FC236}">
                <a16:creationId xmlns:a16="http://schemas.microsoft.com/office/drawing/2014/main" id="{4CEAFCB4-DF36-FEC9-EB99-2C0BA5F3BC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2528455" y="-5195455"/>
            <a:ext cx="17248910" cy="17248910"/>
          </a:xfrm>
          <a:custGeom>
            <a:avLst/>
            <a:gdLst>
              <a:gd name="connsiteX0" fmla="*/ 8624455 w 17248910"/>
              <a:gd name="connsiteY0" fmla="*/ 0 h 17248910"/>
              <a:gd name="connsiteX1" fmla="*/ 17248910 w 17248910"/>
              <a:gd name="connsiteY1" fmla="*/ 8624455 h 17248910"/>
              <a:gd name="connsiteX2" fmla="*/ 8624455 w 17248910"/>
              <a:gd name="connsiteY2" fmla="*/ 17248910 h 17248910"/>
              <a:gd name="connsiteX3" fmla="*/ 0 w 17248910"/>
              <a:gd name="connsiteY3" fmla="*/ 8624455 h 17248910"/>
              <a:gd name="connsiteX4" fmla="*/ 8624455 w 17248910"/>
              <a:gd name="connsiteY4" fmla="*/ 0 h 17248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48910" h="17248910">
                <a:moveTo>
                  <a:pt x="8624455" y="0"/>
                </a:moveTo>
                <a:cubicBezTo>
                  <a:pt x="13387610" y="0"/>
                  <a:pt x="17248910" y="3861300"/>
                  <a:pt x="17248910" y="8624455"/>
                </a:cubicBezTo>
                <a:cubicBezTo>
                  <a:pt x="17248910" y="13387610"/>
                  <a:pt x="13387610" y="17248910"/>
                  <a:pt x="8624455" y="17248910"/>
                </a:cubicBezTo>
                <a:cubicBezTo>
                  <a:pt x="3861300" y="17248910"/>
                  <a:pt x="0" y="13387610"/>
                  <a:pt x="0" y="8624455"/>
                </a:cubicBezTo>
                <a:cubicBezTo>
                  <a:pt x="0" y="3861300"/>
                  <a:pt x="3861300" y="0"/>
                  <a:pt x="8624455" y="0"/>
                </a:cubicBezTo>
                <a:close/>
              </a:path>
            </a:pathLst>
          </a:cu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0A307A2-3795-1D7E-E1E6-10B8134F31D8}"/>
              </a:ext>
            </a:extLst>
          </p:cNvPr>
          <p:cNvSpPr txBox="1"/>
          <p:nvPr/>
        </p:nvSpPr>
        <p:spPr>
          <a:xfrm>
            <a:off x="483326" y="378823"/>
            <a:ext cx="510757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6000" dirty="0">
                <a:solidFill>
                  <a:schemeClr val="tx2"/>
                </a:solidFill>
                <a:latin typeface="Hanson" pitchFamily="50" charset="0"/>
              </a:rPr>
              <a:t>Conic Gradient Effec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05472CC-3CE5-280A-EAA7-5BEC445F1E11}"/>
              </a:ext>
            </a:extLst>
          </p:cNvPr>
          <p:cNvSpPr txBox="1"/>
          <p:nvPr/>
        </p:nvSpPr>
        <p:spPr>
          <a:xfrm>
            <a:off x="692331" y="3853543"/>
            <a:ext cx="4558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dirty="0">
                <a:latin typeface="Figtree SemiBold" pitchFamily="2" charset="0"/>
              </a:rPr>
              <a:t>Conic Gradient is a gradient with colour transitions rotated around a </a:t>
            </a:r>
            <a:r>
              <a:rPr lang="en-MY" dirty="0" err="1">
                <a:latin typeface="Figtree SemiBold" pitchFamily="2" charset="0"/>
              </a:rPr>
              <a:t>center</a:t>
            </a:r>
            <a:r>
              <a:rPr lang="en-MY" dirty="0">
                <a:latin typeface="Figtree SemiBold" pitchFamily="2" charset="0"/>
              </a:rPr>
              <a:t> point.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05CF6B3-07EA-7441-53DC-A48F45A10F20}"/>
              </a:ext>
            </a:extLst>
          </p:cNvPr>
          <p:cNvSpPr/>
          <p:nvPr/>
        </p:nvSpPr>
        <p:spPr>
          <a:xfrm>
            <a:off x="1267097" y="4950823"/>
            <a:ext cx="3239589" cy="1018903"/>
          </a:xfrm>
          <a:prstGeom prst="round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dirty="0">
                <a:solidFill>
                  <a:srgbClr val="002060"/>
                </a:solidFill>
                <a:latin typeface="Hanson" pitchFamily="50" charset="0"/>
              </a:rPr>
              <a:t>START</a:t>
            </a:r>
          </a:p>
        </p:txBody>
      </p:sp>
      <p:pic>
        <p:nvPicPr>
          <p:cNvPr id="3" name="Picture 2" descr="A cartoon of a cat in space&#10;&#10;Description automatically generated">
            <a:extLst>
              <a:ext uri="{FF2B5EF4-FFF2-40B4-BE49-F238E27FC236}">
                <a16:creationId xmlns:a16="http://schemas.microsoft.com/office/drawing/2014/main" id="{EE07C8A0-659B-E5AF-AECA-652CC10E173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1099" y="859895"/>
            <a:ext cx="4762500" cy="47625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54139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36</Words>
  <Application>Microsoft Office PowerPoint</Application>
  <PresentationFormat>Widescreen</PresentationFormat>
  <Paragraphs>6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ptos</vt:lpstr>
      <vt:lpstr>Aptos Display</vt:lpstr>
      <vt:lpstr>Arial</vt:lpstr>
      <vt:lpstr>Figtree SemiBold</vt:lpstr>
      <vt:lpstr>Hanson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CKSON A/L RAJA SINGAM</dc:creator>
  <cp:lastModifiedBy>JACKSON A/L RAJA SINGAM</cp:lastModifiedBy>
  <cp:revision>1</cp:revision>
  <dcterms:created xsi:type="dcterms:W3CDTF">2024-10-19T15:53:32Z</dcterms:created>
  <dcterms:modified xsi:type="dcterms:W3CDTF">2024-10-19T16:18:15Z</dcterms:modified>
</cp:coreProperties>
</file>